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74" autoAdjust="0"/>
  </p:normalViewPr>
  <p:slideViewPr>
    <p:cSldViewPr snapToGrid="0">
      <p:cViewPr varScale="1">
        <p:scale>
          <a:sx n="117" d="100"/>
          <a:sy n="117" d="100"/>
        </p:scale>
        <p:origin x="643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264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910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311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8548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572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29016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352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734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9695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889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486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13B24-0875-4395-B777-3428415F4206}" type="datetimeFigureOut">
              <a:rPr lang="ru-RU" smtClean="0"/>
              <a:t>05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F22C8D-1DA9-4F66-8C8C-D3E6CB6D63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64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6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4.svg"/><Relationship Id="rId12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11" Type="http://schemas.openxmlformats.org/officeDocument/2006/relationships/image" Target="../media/image66.svg"/><Relationship Id="rId5" Type="http://schemas.openxmlformats.org/officeDocument/2006/relationships/image" Target="../media/image2.png"/><Relationship Id="rId15" Type="http://schemas.openxmlformats.org/officeDocument/2006/relationships/image" Target="../media/image42.svg"/><Relationship Id="rId10" Type="http://schemas.openxmlformats.org/officeDocument/2006/relationships/image" Target="../media/image4.png"/><Relationship Id="rId4" Type="http://schemas.openxmlformats.org/officeDocument/2006/relationships/image" Target="../media/image1.png"/><Relationship Id="rId9" Type="http://schemas.openxmlformats.org/officeDocument/2006/relationships/image" Target="../media/image58.svg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3326859" cy="6858000"/>
          </a:xfrm>
          <a:prstGeom prst="rect">
            <a:avLst/>
          </a:prstGeom>
          <a:solidFill>
            <a:srgbClr val="1940FF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black">
          <a:xfrm>
            <a:off x="503755" y="5077685"/>
            <a:ext cx="6294438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оманда </a:t>
            </a:r>
            <a:r>
              <a:rPr lang="en-US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GMP</a:t>
            </a:r>
            <a:endParaRPr lang="ru-RU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endParaRPr lang="en-US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Александр Ярусов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ристина Лях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Никита </a:t>
            </a:r>
            <a:r>
              <a:rPr lang="ru-RU" altLang="en-US" sz="2000" dirty="0" err="1" smtClean="0">
                <a:solidFill>
                  <a:srgbClr val="FFFFFF"/>
                </a:solidFill>
                <a:latin typeface="Arial Narrow" panose="020B0606020202030204" pitchFamily="34" charset="0"/>
              </a:rPr>
              <a:t>Боженков</a:t>
            </a:r>
            <a:endParaRPr lang="ru-RU" altLang="en-US" sz="2000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black">
          <a:xfrm>
            <a:off x="547154" y="729042"/>
            <a:ext cx="6294438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4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ИЗЕР</a:t>
            </a:r>
            <a:endParaRPr lang="ru-RU" altLang="en-US" sz="44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969074" y="369018"/>
            <a:ext cx="58593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1940FF"/>
                </a:solidFill>
                <a:latin typeface="Arial Narrow" panose="020B0606020202030204" pitchFamily="34" charset="0"/>
              </a:rPr>
              <a:t>И</a:t>
            </a:r>
            <a:r>
              <a:rPr lang="ru-RU" sz="24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нвестиционный </a:t>
            </a:r>
            <a:r>
              <a:rPr lang="ru-RU" sz="2400" b="1" dirty="0" err="1" smtClean="0">
                <a:solidFill>
                  <a:srgbClr val="1940FF"/>
                </a:solidFill>
                <a:latin typeface="Arial Narrow" panose="020B0606020202030204" pitchFamily="34" charset="0"/>
              </a:rPr>
              <a:t>хаб</a:t>
            </a:r>
            <a:endParaRPr lang="ru-RU" sz="2400" b="1" dirty="0" smtClean="0">
              <a:solidFill>
                <a:srgbClr val="1940FF"/>
              </a:solidFill>
              <a:latin typeface="Arial Narrow" panose="020B0606020202030204" pitchFamily="34" charset="0"/>
            </a:endParaRPr>
          </a:p>
          <a:p>
            <a:r>
              <a:rPr lang="ru-RU" sz="1600" dirty="0" smtClean="0">
                <a:latin typeface="Arial Narrow" panose="020B0606020202030204" pitchFamily="34" charset="0"/>
              </a:rPr>
              <a:t>цифровая финансовая платформа, экосистема, предоставляющая мировой доступ к классическим и нестандартным финансовым инструментам, </a:t>
            </a:r>
            <a:r>
              <a:rPr lang="ru-RU" sz="1600" dirty="0" err="1" smtClean="0">
                <a:latin typeface="Arial Narrow" panose="020B0606020202030204" pitchFamily="34" charset="0"/>
              </a:rPr>
              <a:t>маркетплейсам</a:t>
            </a:r>
            <a:r>
              <a:rPr lang="ru-RU" sz="1600" dirty="0" smtClean="0">
                <a:latin typeface="Arial Narrow" panose="020B0606020202030204" pitchFamily="34" charset="0"/>
              </a:rPr>
              <a:t> и площадкам для </a:t>
            </a:r>
            <a:r>
              <a:rPr lang="ru-RU" sz="1600" dirty="0" smtClean="0">
                <a:latin typeface="Arial Narrow" panose="020B0606020202030204" pitchFamily="34" charset="0"/>
              </a:rPr>
              <a:t>различных категорий </a:t>
            </a:r>
            <a:r>
              <a:rPr lang="ru-RU" sz="1600" dirty="0" smtClean="0">
                <a:latin typeface="Arial Narrow" panose="020B0606020202030204" pitchFamily="34" charset="0"/>
              </a:rPr>
              <a:t>инвесторов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643" y="125358"/>
            <a:ext cx="1524567" cy="1524567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3969073" y="1990060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1940FF"/>
                </a:solidFill>
                <a:latin typeface="Arial Narrow" panose="020B0606020202030204" pitchFamily="34" charset="0"/>
              </a:rPr>
              <a:t>Компоненты модели: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xmlns:lc="http://schemas.openxmlformats.org/drawingml/2006/lockedCanvas" id="{7431E9BA-F831-48DD-B7D0-921D64143A83}"/>
              </a:ext>
            </a:extLst>
          </p:cNvPr>
          <p:cNvGrpSpPr/>
          <p:nvPr/>
        </p:nvGrpSpPr>
        <p:grpSpPr>
          <a:xfrm>
            <a:off x="4048892" y="2541353"/>
            <a:ext cx="7620045" cy="749495"/>
            <a:chOff x="515939" y="1233488"/>
            <a:chExt cx="11160124" cy="1170000"/>
          </a:xfrm>
        </p:grpSpPr>
        <p:sp>
          <p:nvSpPr>
            <p:cNvPr id="80" name="Прямоугольник 7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515939" y="1233488"/>
              <a:ext cx="11160124" cy="11689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6574635" y="1577729"/>
              <a:ext cx="4408566" cy="480456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Хаб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- 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центр финансовых потоков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82" name="Группа 8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518367" y="1233488"/>
              <a:ext cx="5847520" cy="1170000"/>
              <a:chOff x="518367" y="1233488"/>
              <a:chExt cx="5847520" cy="1170000"/>
            </a:xfrm>
          </p:grpSpPr>
          <p:sp>
            <p:nvSpPr>
              <p:cNvPr id="83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7"/>
                <a:ext cx="2955987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4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39" y="1234020"/>
                <a:ext cx="5638983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5" name="Прямоугольник 84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423920"/>
                <a:ext cx="3062372" cy="788070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Цифровой</a:t>
                </a:r>
                <a:r>
                  <a:rPr kumimoji="0" lang="ru-RU" sz="16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 финансовый посредник</a:t>
                </a: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6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18367" y="1233488"/>
                <a:ext cx="2001313" cy="1170000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8" name="Группа 87">
            <a:extLst>
              <a:ext uri="{FF2B5EF4-FFF2-40B4-BE49-F238E27FC236}">
                <a16:creationId xmlns="" xmlns:a16="http://schemas.microsoft.com/office/drawing/2014/main" xmlns:lc="http://schemas.openxmlformats.org/drawingml/2006/lockedCanvas" id="{7431E9BA-F831-48DD-B7D0-921D64143A83}"/>
              </a:ext>
            </a:extLst>
          </p:cNvPr>
          <p:cNvGrpSpPr/>
          <p:nvPr/>
        </p:nvGrpSpPr>
        <p:grpSpPr>
          <a:xfrm>
            <a:off x="4048893" y="3345563"/>
            <a:ext cx="7620045" cy="775619"/>
            <a:chOff x="515939" y="1192708"/>
            <a:chExt cx="11160124" cy="1210780"/>
          </a:xfrm>
        </p:grpSpPr>
        <p:sp>
          <p:nvSpPr>
            <p:cNvPr id="89" name="Прямоугольник 8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515939" y="1192708"/>
              <a:ext cx="11160124" cy="116893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6574635" y="1409571"/>
              <a:ext cx="5028892" cy="816773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dirty="0" smtClean="0">
                  <a:solidFill>
                    <a:srgbClr val="1C1C1C"/>
                  </a:solidFill>
                  <a:latin typeface="Arial Narrow"/>
                </a:rPr>
                <a:t>Стимулирование внутренних инвестиций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Привлечение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иностранных частных инвесторов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91" name="Группа 9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518367" y="1233488"/>
              <a:ext cx="5847520" cy="1170000"/>
              <a:chOff x="518367" y="1233488"/>
              <a:chExt cx="5847520" cy="1170000"/>
            </a:xfrm>
          </p:grpSpPr>
          <p:sp>
            <p:nvSpPr>
              <p:cNvPr id="92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7"/>
                <a:ext cx="2955987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93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39" y="1234020"/>
                <a:ext cx="5638983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94" name="Прямоугольник 93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89829"/>
                <a:ext cx="3062372" cy="456251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Аудитория</a:t>
                </a: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95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18367" y="1233488"/>
                <a:ext cx="2001313" cy="1170000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7" name="Группа 96">
            <a:extLst>
              <a:ext uri="{FF2B5EF4-FFF2-40B4-BE49-F238E27FC236}">
                <a16:creationId xmlns="" xmlns:a16="http://schemas.microsoft.com/office/drawing/2014/main" xmlns:lc="http://schemas.openxmlformats.org/drawingml/2006/lockedCanvas" id="{7431E9BA-F831-48DD-B7D0-921D64143A83}"/>
              </a:ext>
            </a:extLst>
          </p:cNvPr>
          <p:cNvGrpSpPr/>
          <p:nvPr/>
        </p:nvGrpSpPr>
        <p:grpSpPr>
          <a:xfrm>
            <a:off x="4048892" y="4209119"/>
            <a:ext cx="7620045" cy="749495"/>
            <a:chOff x="515939" y="1233488"/>
            <a:chExt cx="11160124" cy="1170000"/>
          </a:xfrm>
        </p:grpSpPr>
        <p:sp>
          <p:nvSpPr>
            <p:cNvPr id="98" name="Прямоугольник 9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515939" y="1233488"/>
              <a:ext cx="11160124" cy="11689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6574635" y="1409571"/>
              <a:ext cx="4408566" cy="816773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Организация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рынков новых финансовых продуктов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100" name="Группа 99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518367" y="1233488"/>
              <a:ext cx="5847520" cy="1170000"/>
              <a:chOff x="518367" y="1233488"/>
              <a:chExt cx="5847520" cy="1170000"/>
            </a:xfrm>
          </p:grpSpPr>
          <p:sp>
            <p:nvSpPr>
              <p:cNvPr id="101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7"/>
                <a:ext cx="2955987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02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39" y="1234020"/>
                <a:ext cx="5638983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03" name="Прямоугольник 102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89829"/>
                <a:ext cx="3062372" cy="456251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Продуктовая линейка</a:t>
                </a: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04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18367" y="1233488"/>
                <a:ext cx="2001313" cy="1170000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6" name="Группа 105">
            <a:extLst>
              <a:ext uri="{FF2B5EF4-FFF2-40B4-BE49-F238E27FC236}">
                <a16:creationId xmlns="" xmlns:a16="http://schemas.microsoft.com/office/drawing/2014/main" xmlns:lc="http://schemas.openxmlformats.org/drawingml/2006/lockedCanvas" id="{7431E9BA-F831-48DD-B7D0-921D64143A83}"/>
              </a:ext>
            </a:extLst>
          </p:cNvPr>
          <p:cNvGrpSpPr/>
          <p:nvPr/>
        </p:nvGrpSpPr>
        <p:grpSpPr>
          <a:xfrm>
            <a:off x="4048892" y="5040520"/>
            <a:ext cx="7620045" cy="749495"/>
            <a:chOff x="515939" y="1233488"/>
            <a:chExt cx="11160124" cy="1170000"/>
          </a:xfrm>
        </p:grpSpPr>
        <p:sp>
          <p:nvSpPr>
            <p:cNvPr id="107" name="Прямоугольник 10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515939" y="1233488"/>
              <a:ext cx="11160124" cy="11689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6574635" y="1409571"/>
              <a:ext cx="4408566" cy="816773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dirty="0" err="1" smtClean="0">
                  <a:solidFill>
                    <a:srgbClr val="1C1C1C"/>
                  </a:solidFill>
                  <a:latin typeface="Arial Narrow"/>
                </a:rPr>
                <a:t>Диджитализация</a:t>
              </a:r>
              <a:r>
                <a:rPr lang="ru-RU" sz="1400" dirty="0" smtClean="0">
                  <a:solidFill>
                    <a:srgbClr val="1C1C1C"/>
                  </a:solidFill>
                  <a:latin typeface="Arial Narrow"/>
                </a:rPr>
                <a:t> площадки, создание </a:t>
              </a:r>
              <a:r>
                <a:rPr lang="ru-RU" sz="1400" dirty="0" err="1" smtClean="0">
                  <a:solidFill>
                    <a:srgbClr val="1C1C1C"/>
                  </a:solidFill>
                  <a:latin typeface="Arial Narrow"/>
                </a:rPr>
                <a:t>маркетплейсов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109" name="Группа 10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518367" y="1233488"/>
              <a:ext cx="5847520" cy="1170000"/>
              <a:chOff x="518367" y="1233488"/>
              <a:chExt cx="5847520" cy="1170000"/>
            </a:xfrm>
          </p:grpSpPr>
          <p:sp>
            <p:nvSpPr>
              <p:cNvPr id="110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7"/>
                <a:ext cx="2955987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11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39" y="1234020"/>
                <a:ext cx="5638983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12" name="Прямоугольник 11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53705"/>
                <a:ext cx="3062372" cy="528500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Цифровая</a:t>
                </a:r>
                <a:r>
                  <a:rPr kumimoji="0" lang="ru-RU" sz="16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 платформа</a:t>
                </a: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13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18367" y="1233488"/>
                <a:ext cx="2001313" cy="1170000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5" name="Группа 114">
            <a:extLst>
              <a:ext uri="{FF2B5EF4-FFF2-40B4-BE49-F238E27FC236}">
                <a16:creationId xmlns="" xmlns:a16="http://schemas.microsoft.com/office/drawing/2014/main" xmlns:lc="http://schemas.openxmlformats.org/drawingml/2006/lockedCanvas" id="{7431E9BA-F831-48DD-B7D0-921D64143A83}"/>
              </a:ext>
            </a:extLst>
          </p:cNvPr>
          <p:cNvGrpSpPr/>
          <p:nvPr/>
        </p:nvGrpSpPr>
        <p:grpSpPr>
          <a:xfrm>
            <a:off x="4048892" y="5893773"/>
            <a:ext cx="7620045" cy="749495"/>
            <a:chOff x="515939" y="1233488"/>
            <a:chExt cx="11160124" cy="1170000"/>
          </a:xfrm>
        </p:grpSpPr>
        <p:sp>
          <p:nvSpPr>
            <p:cNvPr id="116" name="Прямоугольник 11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515939" y="1233488"/>
              <a:ext cx="11160124" cy="11689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17" name="Прямоугольник 11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6574635" y="1409571"/>
              <a:ext cx="4408566" cy="816773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Обеспечение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</a:t>
              </a:r>
              <a:r>
                <a:rPr kumimoji="0" lang="ru-RU" sz="1400" b="0" i="0" u="none" strike="noStrike" kern="1200" cap="none" spc="0" normalizeH="0" noProof="0" dirty="0" err="1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платформаы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 необходимой для функционирования инфраструктурой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518367" y="1233488"/>
              <a:ext cx="5847520" cy="1170000"/>
              <a:chOff x="518367" y="1233488"/>
              <a:chExt cx="5847520" cy="1170000"/>
            </a:xfrm>
          </p:grpSpPr>
          <p:sp>
            <p:nvSpPr>
              <p:cNvPr id="119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7"/>
                <a:ext cx="2955987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20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39" y="1234020"/>
                <a:ext cx="5638983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21" name="Прямоугольник 120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53705"/>
                <a:ext cx="3062372" cy="528500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Инфраструктура</a:t>
                </a: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22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18367" y="1233488"/>
                <a:ext cx="2001313" cy="1170000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25" name="Рисунок 124">
            <a:extLst>
              <a:ext uri="{FF2B5EF4-FFF2-40B4-BE49-F238E27FC236}">
                <a16:creationId xmlns:a16="http://schemas.microsoft.com/office/drawing/2014/main" xmlns="" id="{C86561C0-DC6F-4475-A160-72711A9E95A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54978" y="5196879"/>
            <a:ext cx="412569" cy="412569"/>
          </a:xfrm>
          <a:prstGeom prst="rect">
            <a:avLst/>
          </a:prstGeom>
        </p:spPr>
      </p:pic>
      <p:pic>
        <p:nvPicPr>
          <p:cNvPr id="126" name="Рисунок 125">
            <a:extLst>
              <a:ext uri="{FF2B5EF4-FFF2-40B4-BE49-F238E27FC236}">
                <a16:creationId xmlns:a16="http://schemas.microsoft.com/office/drawing/2014/main" xmlns="" id="{D3D9E9DB-8F12-4E89-A5DF-182B2039D4C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83361" y="2704641"/>
            <a:ext cx="341776" cy="341776"/>
          </a:xfrm>
          <a:prstGeom prst="rect">
            <a:avLst/>
          </a:prstGeom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</p:pic>
      <p:pic>
        <p:nvPicPr>
          <p:cNvPr id="127" name="Рисунок 126">
            <a:extLst>
              <a:ext uri="{FF2B5EF4-FFF2-40B4-BE49-F238E27FC236}">
                <a16:creationId xmlns:a16="http://schemas.microsoft.com/office/drawing/2014/main" xmlns="" id="{E82F8793-1A15-5F45-8A4E-BA851AA0F72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54245" y="3599956"/>
            <a:ext cx="355748" cy="355748"/>
          </a:xfrm>
          <a:prstGeom prst="rect">
            <a:avLst/>
          </a:prstGeom>
        </p:spPr>
      </p:pic>
      <p:pic>
        <p:nvPicPr>
          <p:cNvPr id="128" name="Рисунок 127">
            <a:extLst>
              <a:ext uri="{FF2B5EF4-FFF2-40B4-BE49-F238E27FC236}">
                <a16:creationId xmlns:a16="http://schemas.microsoft.com/office/drawing/2014/main" xmlns="" id="{D2F85109-34FA-DF43-ABB7-C52197FBB31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85760" y="4455310"/>
            <a:ext cx="266130" cy="266130"/>
          </a:xfrm>
          <a:prstGeom prst="rect">
            <a:avLst/>
          </a:prstGeom>
        </p:spPr>
      </p:pic>
      <p:pic>
        <p:nvPicPr>
          <p:cNvPr id="133" name="Рисунок 132">
            <a:extLst>
              <a:ext uri="{FF2B5EF4-FFF2-40B4-BE49-F238E27FC236}">
                <a16:creationId xmlns:a16="http://schemas.microsoft.com/office/drawing/2014/main" xmlns="" id="{41AF084E-A7C5-432B-8A5F-EB33A62ACF64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40951" y="6006571"/>
            <a:ext cx="466594" cy="466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36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</TotalTime>
  <Words>74</Words>
  <Application>Microsoft Office PowerPoint</Application>
  <PresentationFormat>Широкоэкранный</PresentationFormat>
  <Paragraphs>20</Paragraphs>
  <Slides>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Arial Narrow</vt:lpstr>
      <vt:lpstr>Calibri</vt:lpstr>
      <vt:lpstr>Calibri Light</vt:lpstr>
      <vt:lpstr>Тема Office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.</dc:creator>
  <cp:lastModifiedBy>.</cp:lastModifiedBy>
  <cp:revision>25</cp:revision>
  <dcterms:created xsi:type="dcterms:W3CDTF">2021-09-04T21:50:07Z</dcterms:created>
  <dcterms:modified xsi:type="dcterms:W3CDTF">2021-09-05T01:18:41Z</dcterms:modified>
</cp:coreProperties>
</file>